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4"/>
  </p:notesMasterIdLst>
  <p:sldIdLst>
    <p:sldId id="303" r:id="rId5"/>
    <p:sldId id="262" r:id="rId6"/>
    <p:sldId id="306" r:id="rId7"/>
    <p:sldId id="314" r:id="rId8"/>
    <p:sldId id="257" r:id="rId9"/>
    <p:sldId id="269" r:id="rId10"/>
    <p:sldId id="287" r:id="rId11"/>
    <p:sldId id="311" r:id="rId12"/>
    <p:sldId id="315" r:id="rId13"/>
    <p:sldId id="316" r:id="rId14"/>
    <p:sldId id="261" r:id="rId15"/>
    <p:sldId id="296" r:id="rId16"/>
    <p:sldId id="304" r:id="rId17"/>
    <p:sldId id="307" r:id="rId18"/>
    <p:sldId id="291" r:id="rId19"/>
    <p:sldId id="274" r:id="rId20"/>
    <p:sldId id="300" r:id="rId21"/>
    <p:sldId id="286" r:id="rId22"/>
    <p:sldId id="292" r:id="rId23"/>
  </p:sldIdLst>
  <p:sldSz cx="9631363" cy="7223125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56" userDrawn="1">
          <p15:clr>
            <a:srgbClr val="A4A3A4"/>
          </p15:clr>
        </p15:guide>
        <p15:guide id="3" orient="horz" pos="2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pelman, Dana Lea" initials="KDL" lastIdx="6" clrIdx="0">
    <p:extLst>
      <p:ext uri="{19B8F6BF-5375-455C-9EA6-DF929625EA0E}">
        <p15:presenceInfo xmlns:p15="http://schemas.microsoft.com/office/powerpoint/2012/main" userId="S::dkopelman@collegeboard.org::20979823-5b91-44f0-b53d-0aedd2b25d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B00"/>
    <a:srgbClr val="F24516"/>
    <a:srgbClr val="C7C7C7"/>
    <a:srgbClr val="EAEAEA"/>
    <a:srgbClr val="F09E00"/>
    <a:srgbClr val="26A64E"/>
    <a:srgbClr val="F16B4E"/>
    <a:srgbClr val="2BBFF4"/>
    <a:srgbClr val="4BA7F8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843" autoAdjust="0"/>
    <p:restoredTop sz="97474" autoAdjust="0"/>
  </p:normalViewPr>
  <p:slideViewPr>
    <p:cSldViewPr snapToGrid="0" showGuides="1">
      <p:cViewPr varScale="1">
        <p:scale>
          <a:sx n="106" d="100"/>
          <a:sy n="106" d="100"/>
        </p:scale>
        <p:origin x="536" y="184"/>
      </p:cViewPr>
      <p:guideLst>
        <p:guide pos="5356"/>
        <p:guide orient="horz" pos="2275"/>
      </p:guideLst>
    </p:cSldViewPr>
  </p:slideViewPr>
  <p:outlineViewPr>
    <p:cViewPr>
      <p:scale>
        <a:sx n="33" d="100"/>
        <a:sy n="33" d="100"/>
      </p:scale>
      <p:origin x="0" y="-31457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680C-5B48-460E-B481-2C9E1A1DFEF0}" type="datetimeFigureOut">
              <a:rPr lang="en-US" smtClean="0"/>
              <a:t>4/6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AF150-6D2A-4DA1-BED8-20A773521B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7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311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5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207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2400" y="358775"/>
            <a:ext cx="9098240" cy="6127886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200" y="1618488"/>
            <a:ext cx="3814207" cy="62110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45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201" y="5333781"/>
            <a:ext cx="3814207" cy="56312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  <a:latin typeface="+mj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793068" y="366033"/>
            <a:ext cx="4587572" cy="6120629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82401" y="6640450"/>
            <a:ext cx="3106468" cy="288925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793068" y="358775"/>
            <a:ext cx="4587572" cy="6135058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35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00116" y="939800"/>
            <a:ext cx="3358892" cy="452438"/>
          </a:xfrm>
        </p:spPr>
        <p:txBody>
          <a:bodyPr>
            <a:noAutofit/>
          </a:bodyPr>
          <a:lstStyle>
            <a:lvl1pPr marL="0" indent="0">
              <a:buNone/>
              <a:defRPr lang="en-US" sz="1200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7094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57798" y="430311"/>
            <a:ext cx="8915768" cy="64252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91984" y="737176"/>
            <a:ext cx="4597544" cy="41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7798" y="455926"/>
            <a:ext cx="891576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2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36116" y="184728"/>
            <a:ext cx="9359131" cy="6853668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8616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721561"/>
            <a:ext cx="9631363" cy="3780000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4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76921" y="2028307"/>
            <a:ext cx="1165442" cy="1211604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7288950" y="2157617"/>
            <a:ext cx="1165442" cy="1211604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80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1315" y="3110096"/>
            <a:ext cx="3599174" cy="621106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45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6936" y="6221651"/>
            <a:ext cx="1417492" cy="33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60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03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E46C0-B214-48D0-AD3A-E06942AE80EE}" type="datetimeFigureOut">
              <a:rPr lang="en-US" smtClean="0"/>
              <a:t>4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51FFA-257E-4D4F-B519-344AF5A80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6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52" y="1182118"/>
            <a:ext cx="8186659" cy="2514718"/>
          </a:xfrm>
        </p:spPr>
        <p:txBody>
          <a:bodyPr anchor="b"/>
          <a:lstStyle>
            <a:lvl1pPr algn="ctr">
              <a:defRPr sz="63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3921" y="3793813"/>
            <a:ext cx="7223522" cy="1743916"/>
          </a:xfrm>
        </p:spPr>
        <p:txBody>
          <a:bodyPr/>
          <a:lstStyle>
            <a:lvl1pPr marL="0" indent="0" algn="ctr">
              <a:buNone/>
              <a:defRPr sz="2528"/>
            </a:lvl1pPr>
            <a:lvl2pPr marL="481523" indent="0" algn="ctr">
              <a:buNone/>
              <a:defRPr sz="2106"/>
            </a:lvl2pPr>
            <a:lvl3pPr marL="963046" indent="0" algn="ctr">
              <a:buNone/>
              <a:defRPr sz="1896"/>
            </a:lvl3pPr>
            <a:lvl4pPr marL="1444569" indent="0" algn="ctr">
              <a:buNone/>
              <a:defRPr sz="1685"/>
            </a:lvl4pPr>
            <a:lvl5pPr marL="1926092" indent="0" algn="ctr">
              <a:buNone/>
              <a:defRPr sz="1685"/>
            </a:lvl5pPr>
            <a:lvl6pPr marL="2407615" indent="0" algn="ctr">
              <a:buNone/>
              <a:defRPr sz="1685"/>
            </a:lvl6pPr>
            <a:lvl7pPr marL="2889138" indent="0" algn="ctr">
              <a:buNone/>
              <a:defRPr sz="1685"/>
            </a:lvl7pPr>
            <a:lvl8pPr marL="3370661" indent="0" algn="ctr">
              <a:buNone/>
              <a:defRPr sz="1685"/>
            </a:lvl8pPr>
            <a:lvl9pPr marL="3852184" indent="0" algn="ctr">
              <a:buNone/>
              <a:defRPr sz="168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4/6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10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414437" y="620397"/>
            <a:ext cx="8216926" cy="660272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859069" y="924570"/>
            <a:ext cx="6510576" cy="164610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4050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59069" y="6093208"/>
            <a:ext cx="5094108" cy="70440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100" b="0">
                <a:solidFill>
                  <a:schemeClr val="accent3"/>
                </a:solidFill>
                <a:latin typeface="+mn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8070346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050">
                <a:solidFill>
                  <a:schemeClr val="accent3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91455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050">
                <a:solidFill>
                  <a:schemeClr val="tx2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4437" cy="6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8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2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16595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2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594" y="1229710"/>
            <a:ext cx="9068175" cy="3479450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151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8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672897" y="6585155"/>
            <a:ext cx="767687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898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72897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72897" y="463763"/>
            <a:ext cx="767687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1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48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76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79053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17796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5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4640" y="455926"/>
            <a:ext cx="463085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4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2328194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81595" y="1278372"/>
            <a:ext cx="8929043" cy="463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60106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9" r:id="rId2"/>
    <p:sldLayoutId id="2147483662" r:id="rId3"/>
    <p:sldLayoutId id="2147483682" r:id="rId4"/>
    <p:sldLayoutId id="2147483690" r:id="rId5"/>
    <p:sldLayoutId id="2147483678" r:id="rId6"/>
    <p:sldLayoutId id="2147483679" r:id="rId7"/>
    <p:sldLayoutId id="2147483681" r:id="rId8"/>
    <p:sldLayoutId id="2147483680" r:id="rId9"/>
    <p:sldLayoutId id="2147483663" r:id="rId10"/>
    <p:sldLayoutId id="2147483664" r:id="rId11"/>
    <p:sldLayoutId id="2147483677" r:id="rId12"/>
    <p:sldLayoutId id="2147483691" r:id="rId13"/>
    <p:sldLayoutId id="2147483686" r:id="rId14"/>
    <p:sldLayoutId id="2147483692" r:id="rId15"/>
    <p:sldLayoutId id="2147483693" r:id="rId16"/>
  </p:sldLayoutIdLst>
  <p:txStyles>
    <p:titleStyle>
      <a:lvl1pPr algn="l" defTabSz="736001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597" marR="0" indent="-203597" algn="l" defTabSz="735806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35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31006" marR="0" indent="-89297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2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89385" marR="0" indent="-215504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2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90422" marR="0" indent="-157734" algn="l" defTabSz="7360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2" indent="-184001" algn="l" defTabSz="736001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024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92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760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128003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60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68000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6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104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72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40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08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6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44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3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1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smedic.com/youtube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ollegeboard.org/ap-covid19-updates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apstudents.collegeboard.org/coronavirus-update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2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902890"/>
            <a:ext cx="9630833" cy="54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8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825957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409181"/>
            <a:ext cx="8905698" cy="51636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r>
              <a:rPr lang="en-US" sz="3200" dirty="0">
                <a:solidFill>
                  <a:srgbClr val="1E1E1E"/>
                </a:solidFill>
                <a:latin typeface="Roboto"/>
              </a:rPr>
              <a:t>Why do we need to calculate </a:t>
            </a: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3" name="Picture 2" descr="A close up of a clock&#10;&#10;Description automatically generated">
            <a:extLst>
              <a:ext uri="{FF2B5EF4-FFF2-40B4-BE49-F238E27FC236}">
                <a16:creationId xmlns:a16="http://schemas.microsoft.com/office/drawing/2014/main" id="{D7CB6686-2FCC-0941-BB70-7AD85AE1B54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106290" y="2796373"/>
            <a:ext cx="4904223" cy="238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6206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0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C980774-E0F4-4386-8969-78B5F9CE12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970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998 AP Statistics Free Response #5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5" y="1105806"/>
            <a:ext cx="8915768" cy="51820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 algn="ctr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picture containing table, holding, old&#10;&#10;Description automatically generated">
            <a:extLst>
              <a:ext uri="{FF2B5EF4-FFF2-40B4-BE49-F238E27FC236}">
                <a16:creationId xmlns:a16="http://schemas.microsoft.com/office/drawing/2014/main" id="{EE29B6E8-9AA9-9243-A06A-274C0F1647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996" y="1922012"/>
            <a:ext cx="8716963" cy="3379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9014789-8576-D64C-8AF3-4737FA6A28A9}"/>
              </a:ext>
            </a:extLst>
          </p:cNvPr>
          <p:cNvSpPr/>
          <p:nvPr/>
        </p:nvSpPr>
        <p:spPr>
          <a:xfrm>
            <a:off x="533404" y="2125683"/>
            <a:ext cx="452248" cy="261257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>
            <a:normAutofit fontScale="70000" lnSpcReduction="20000"/>
          </a:bodyPr>
          <a:lstStyle/>
          <a:p>
            <a:pPr algn="ctr"/>
            <a:endParaRPr lang="en-US" sz="20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9512513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2 AP Statistics Free Response #4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221604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9F5E909B-BADE-FD46-9F42-DCD91D9565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2150" y="1886720"/>
            <a:ext cx="8785734" cy="2842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6739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5 AP Statistics FRQ #4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picture containing photo, table&#10;&#10;Description automatically generated">
            <a:extLst>
              <a:ext uri="{FF2B5EF4-FFF2-40B4-BE49-F238E27FC236}">
                <a16:creationId xmlns:a16="http://schemas.microsoft.com/office/drawing/2014/main" id="{A6247F15-4F88-8449-B148-48CA395AE8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726" y="2409401"/>
            <a:ext cx="8673043" cy="2404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441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5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BFB8B97-E58A-403E-B8DD-C5B2B8F89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113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150623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EBRIEF AND SUMM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opefully by now you are feeling more comfortable with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Confidence Intervals and Hypothesis Tests with Proportions (both one and two samples)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imilar to other Inference Tests/Procedures you should be able to write a clear/concise solution in context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51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460606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2002 MC #8   Homework Problem Tuesday 04/07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59CA5708-D57B-2C42-A2D4-F40943AD52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6572" y="1879600"/>
            <a:ext cx="8538217" cy="3906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15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56" y="90412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2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56" y="90412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" y="902928"/>
            <a:ext cx="119060" cy="11906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16">
              <a:defRPr/>
            </a:pPr>
            <a:endParaRPr lang="en-US" sz="2699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03" y="578601"/>
            <a:ext cx="8905208" cy="309532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evice and Internet Acces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361803" y="3738107"/>
            <a:ext cx="8905208" cy="2799564"/>
          </a:xfrm>
          <a:prstGeom prst="rect">
            <a:avLst/>
          </a:prstGeom>
          <a:noFill/>
        </p:spPr>
        <p:txBody>
          <a:bodyPr wrap="square" lIns="37917" tIns="37917" rIns="37917" bIns="37917" rtlCol="0">
            <a:spAutoFit/>
          </a:bodyPr>
          <a:lstStyle/>
          <a:p>
            <a:pPr algn="ctr"/>
            <a:r>
              <a:rPr lang="en-US" sz="2528" dirty="0"/>
              <a:t>We know that not all students have access to the internet or a device. We’re working on solutions to help students get what they need to show their best work. If you need mobile tools or connectivity or know someone who does, </a:t>
            </a:r>
            <a:r>
              <a:rPr lang="en-US" sz="2528" b="1" dirty="0"/>
              <a:t>you can reach us directly to let us know</a:t>
            </a:r>
            <a:r>
              <a:rPr lang="en-US" sz="2528" dirty="0"/>
              <a:t>.</a:t>
            </a:r>
          </a:p>
          <a:p>
            <a:pPr algn="ctr"/>
            <a:endParaRPr lang="en-US" sz="2106" b="1" dirty="0"/>
          </a:p>
          <a:p>
            <a:pPr algn="ctr"/>
            <a:r>
              <a:rPr lang="en-US" sz="2949" b="1" dirty="0" err="1"/>
              <a:t>cb.org</a:t>
            </a:r>
            <a:r>
              <a:rPr lang="en-US" sz="2949" b="1" dirty="0"/>
              <a:t>/tech</a:t>
            </a:r>
            <a:endParaRPr lang="en-US" sz="2949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B2B1456-05D8-5743-B9A9-6FD0CFD856A7}"/>
              </a:ext>
            </a:extLst>
          </p:cNvPr>
          <p:cNvGrpSpPr/>
          <p:nvPr/>
        </p:nvGrpSpPr>
        <p:grpSpPr>
          <a:xfrm>
            <a:off x="3825279" y="1324133"/>
            <a:ext cx="1979528" cy="1977973"/>
            <a:chOff x="5691514" y="4575025"/>
            <a:chExt cx="736209" cy="7356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5568AC-2F09-8B45-BD81-56144E4FA90E}"/>
                </a:ext>
              </a:extLst>
            </p:cNvPr>
            <p:cNvSpPr/>
            <p:nvPr/>
          </p:nvSpPr>
          <p:spPr>
            <a:xfrm>
              <a:off x="5693622" y="4575025"/>
              <a:ext cx="731520" cy="73152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917" tIns="37917" rIns="37917" bIns="37917" rtlCol="0" anchor="ctr">
              <a:normAutofit/>
            </a:bodyPr>
            <a:lstStyle/>
            <a:p>
              <a:pPr algn="ctr"/>
              <a:endParaRPr lang="en-US" sz="2106" b="1" dirty="0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9A2127A-0ACF-DC47-85CF-C6050F4D9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1514" y="4579136"/>
              <a:ext cx="736209" cy="731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83035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7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B2D3F-CE44-4EE4-97E4-1C0F5180A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-1"/>
            <a:ext cx="9630833" cy="72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9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9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71549"/>
            <a:ext cx="9087089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1E1E1E"/>
                </a:solidFill>
              </a:rPr>
              <a:t>Welcome to our first AP Statistics Virtual Instruction Session!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esent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rendan Mur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Joh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p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Memorial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ngor, 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Luke Wilco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lvl="0">
              <a:defRPr/>
            </a:pPr>
            <a:r>
              <a:rPr lang="en-US" sz="1400" dirty="0">
                <a:hlinkClick r:id="rId8"/>
              </a:rPr>
              <a:t>www.statsmedic.com/youtub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56" y="2677736"/>
            <a:ext cx="1236858" cy="1848613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1756" y="4880164"/>
            <a:ext cx="1236859" cy="17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803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HOMEWORK REVIE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7C98A56A-D8FE-2648-9532-E2887A1E7A8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97962" y="1125623"/>
            <a:ext cx="7440713" cy="5735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79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2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UPDATES FOR STUDENTS/TEACH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5021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400" dirty="0">
                <a:hlinkClick r:id="rId8" tooltip="Original URL:&#10;http://collegeboard.org/ap-covid19-updates&#10;&#10;Click to follow link."/>
              </a:rPr>
              <a:t>http://collegeboard.org/ap-covid19-updates</a:t>
            </a:r>
            <a:endParaRPr lang="en-US" sz="2400" dirty="0"/>
          </a:p>
          <a:p>
            <a:pPr lvl="0" algn="ctr"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endParaRPr lang="en-US" sz="2400" dirty="0"/>
          </a:p>
          <a:p>
            <a:pPr algn="ctr"/>
            <a:r>
              <a:rPr lang="en-US" sz="2400" dirty="0">
                <a:hlinkClick r:id="rId9"/>
              </a:rPr>
              <a:t>https://apstudents.collegeboard.org/coronavirus-updat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247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8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9796145-68C9-4F8B-AFC1-B16652D2BA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8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23247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TOPIC 6.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656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997DFD4D-7F91-7146-9A15-A598AA1147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817868" y="1405168"/>
            <a:ext cx="6125982" cy="53439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87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4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TOPIC 6.11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24567"/>
            <a:ext cx="8905698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E337EDEF-86EA-D443-9670-49AF381C8C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79019" y="1481136"/>
            <a:ext cx="7273324" cy="4933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4944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7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825957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346292"/>
            <a:ext cx="8905698" cy="504051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r>
              <a:rPr lang="en-US" sz="3600" dirty="0">
                <a:solidFill>
                  <a:srgbClr val="1E1E1E"/>
                </a:solidFill>
                <a:latin typeface="Roboto"/>
              </a:rPr>
              <a:t>Don’t forget your ZAPTAX!!</a:t>
            </a:r>
          </a:p>
          <a:p>
            <a:endParaRPr lang="en-US" sz="3600" dirty="0">
              <a:solidFill>
                <a:srgbClr val="1E1E1E"/>
              </a:solidFill>
              <a:latin typeface="Roboto"/>
            </a:endParaRPr>
          </a:p>
          <a:p>
            <a:endParaRPr lang="en-US" sz="3600" dirty="0">
              <a:solidFill>
                <a:srgbClr val="1E1E1E"/>
              </a:solidFill>
              <a:latin typeface="Roboto"/>
            </a:endParaRPr>
          </a:p>
          <a:p>
            <a:r>
              <a:rPr lang="en-US" sz="3600" dirty="0">
                <a:solidFill>
                  <a:srgbClr val="1E1E1E"/>
                </a:solidFill>
                <a:latin typeface="Roboto"/>
              </a:rPr>
              <a:t>Z= Z Table</a:t>
            </a:r>
          </a:p>
          <a:p>
            <a:r>
              <a:rPr lang="en-US" sz="3600" dirty="0">
                <a:solidFill>
                  <a:srgbClr val="1E1E1E"/>
                </a:solidFill>
                <a:latin typeface="Roboto"/>
              </a:rPr>
              <a:t>A=Always</a:t>
            </a:r>
          </a:p>
          <a:p>
            <a:r>
              <a:rPr lang="en-US" sz="3600" dirty="0">
                <a:solidFill>
                  <a:srgbClr val="1E1E1E"/>
                </a:solidFill>
                <a:latin typeface="Roboto"/>
              </a:rPr>
              <a:t>P=Proportions</a:t>
            </a:r>
          </a:p>
          <a:p>
            <a:r>
              <a:rPr lang="en-US" sz="3600" dirty="0">
                <a:solidFill>
                  <a:srgbClr val="1E1E1E"/>
                </a:solidFill>
                <a:latin typeface="Roboto"/>
              </a:rPr>
              <a:t>T=T Table</a:t>
            </a:r>
          </a:p>
          <a:p>
            <a:r>
              <a:rPr lang="en-US" sz="3600" dirty="0">
                <a:solidFill>
                  <a:srgbClr val="1E1E1E"/>
                </a:solidFill>
                <a:latin typeface="Roboto"/>
              </a:rPr>
              <a:t>A=Always</a:t>
            </a:r>
          </a:p>
          <a:p>
            <a:r>
              <a:rPr lang="en-US" sz="3600" dirty="0">
                <a:solidFill>
                  <a:srgbClr val="1E1E1E"/>
                </a:solidFill>
                <a:latin typeface="Roboto"/>
              </a:rPr>
              <a:t>X= Means</a:t>
            </a:r>
          </a:p>
        </p:txBody>
      </p:sp>
    </p:spTree>
    <p:extLst>
      <p:ext uri="{BB962C8B-B14F-4D97-AF65-F5344CB8AC3E}">
        <p14:creationId xmlns:p14="http://schemas.microsoft.com/office/powerpoint/2010/main" val="342885190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5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825957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213944"/>
            <a:ext cx="8905698" cy="5656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r>
              <a:rPr lang="en-US" sz="2800" dirty="0">
                <a:solidFill>
                  <a:srgbClr val="1E1E1E"/>
                </a:solidFill>
                <a:latin typeface="Roboto"/>
              </a:rPr>
              <a:t>I always ask my students these four questions when doing Statistical Inference Problems:</a:t>
            </a:r>
          </a:p>
          <a:p>
            <a:endParaRPr lang="en-US" sz="2800" dirty="0">
              <a:solidFill>
                <a:srgbClr val="1E1E1E"/>
              </a:solidFill>
              <a:latin typeface="Roboto"/>
            </a:endParaRPr>
          </a:p>
          <a:p>
            <a:pPr marL="457200" indent="-457200">
              <a:buAutoNum type="arabicPeriod"/>
            </a:pPr>
            <a:r>
              <a:rPr lang="en-US" sz="2800" dirty="0">
                <a:solidFill>
                  <a:srgbClr val="1E1E1E"/>
                </a:solidFill>
                <a:latin typeface="Roboto"/>
              </a:rPr>
              <a:t>Does this problem feel like a Confidence Interval or a Hypothesis Test?</a:t>
            </a:r>
          </a:p>
          <a:p>
            <a:pPr marL="457200" indent="-457200">
              <a:buAutoNum type="arabicPeriod" startAt="2"/>
            </a:pPr>
            <a:r>
              <a:rPr lang="en-US" sz="2800" dirty="0">
                <a:solidFill>
                  <a:srgbClr val="1E1E1E"/>
                </a:solidFill>
                <a:latin typeface="Roboto"/>
              </a:rPr>
              <a:t>Do we have one sample or two samples?</a:t>
            </a:r>
          </a:p>
          <a:p>
            <a:pPr marL="457200" indent="-457200">
              <a:buAutoNum type="arabicPeriod" startAt="3"/>
            </a:pPr>
            <a:r>
              <a:rPr lang="en-US" sz="2800" dirty="0">
                <a:solidFill>
                  <a:srgbClr val="1E1E1E"/>
                </a:solidFill>
                <a:latin typeface="Roboto"/>
              </a:rPr>
              <a:t>Are we dealing with proportions or means?</a:t>
            </a:r>
          </a:p>
          <a:p>
            <a:pPr marL="457200" indent="-457200">
              <a:buAutoNum type="arabicPeriod" startAt="3"/>
            </a:pPr>
            <a:r>
              <a:rPr lang="en-US" sz="2800" dirty="0">
                <a:solidFill>
                  <a:srgbClr val="1E1E1E"/>
                </a:solidFill>
                <a:latin typeface="Roboto"/>
              </a:rPr>
              <a:t>Do we need to read a Z Table or a T Table?</a:t>
            </a:r>
          </a:p>
          <a:p>
            <a:pPr marL="457200" indent="-457200">
              <a:buAutoNum type="arabicPeriod" startAt="3"/>
            </a:pPr>
            <a:endParaRPr lang="en-US" sz="2800" dirty="0">
              <a:solidFill>
                <a:srgbClr val="1E1E1E"/>
              </a:solidFill>
              <a:latin typeface="Roboto"/>
            </a:endParaRPr>
          </a:p>
          <a:p>
            <a:pPr marL="457200" indent="-457200">
              <a:buAutoNum type="arabicPeriod" startAt="3"/>
            </a:pPr>
            <a:endParaRPr lang="en-US" sz="2800" dirty="0">
              <a:solidFill>
                <a:srgbClr val="1E1E1E"/>
              </a:solidFill>
              <a:latin typeface="Roboto"/>
            </a:endParaRPr>
          </a:p>
          <a:p>
            <a:r>
              <a:rPr lang="en-US" sz="2800" dirty="0">
                <a:solidFill>
                  <a:srgbClr val="1E1E1E"/>
                </a:solidFill>
                <a:latin typeface="Roboto"/>
              </a:rPr>
              <a:t>If we can answer these questions correctly if helps them to “name the test” and to get into the problem and hopefully solve it correctly.</a:t>
            </a:r>
          </a:p>
        </p:txBody>
      </p:sp>
    </p:spTree>
    <p:extLst>
      <p:ext uri="{BB962C8B-B14F-4D97-AF65-F5344CB8AC3E}">
        <p14:creationId xmlns:p14="http://schemas.microsoft.com/office/powerpoint/2010/main" val="29483870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3FF447BA0B14F9CF529B5C5DF2DEA" ma:contentTypeVersion="13" ma:contentTypeDescription="Create a new document." ma:contentTypeScope="" ma:versionID="f53fde1e93389a6c4d588f42c665f492">
  <xsd:schema xmlns:xsd="http://www.w3.org/2001/XMLSchema" xmlns:xs="http://www.w3.org/2001/XMLSchema" xmlns:p="http://schemas.microsoft.com/office/2006/metadata/properties" xmlns:ns3="29290a24-c851-445c-ad00-0fdf6255719c" xmlns:ns4="e2766298-136c-439d-b755-a2db652f6339" targetNamespace="http://schemas.microsoft.com/office/2006/metadata/properties" ma:root="true" ma:fieldsID="b936630a4f4899d6b97a7e00781ba76e" ns3:_="" ns4:_="">
    <xsd:import namespace="29290a24-c851-445c-ad00-0fdf6255719c"/>
    <xsd:import namespace="e2766298-136c-439d-b755-a2db652f63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90a24-c851-445c-ad00-0fdf625571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766298-136c-439d-b755-a2db652f6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1778068-D330-49E0-B08D-DCA7AD5877A8}">
  <ds:schemaRefs>
    <ds:schemaRef ds:uri="http://purl.org/dc/terms/"/>
    <ds:schemaRef ds:uri="http://schemas.microsoft.com/office/2006/metadata/properties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29290a24-c851-445c-ad00-0fdf6255719c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EF8710E0-2425-4A75-9D93-FD2D0C3DA9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90a24-c851-445c-ad00-0fdf6255719c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0D94E9D-2ED9-4975-99B9-A78ABDE052B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-K12</Template>
  <TotalTime>4438</TotalTime>
  <Words>362</Words>
  <Application>Microsoft Macintosh PowerPoint</Application>
  <PresentationFormat>Custom</PresentationFormat>
  <Paragraphs>222</Paragraphs>
  <Slides>1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HOMEWORK REVIEW</vt:lpstr>
      <vt:lpstr>UPDATES FOR STUDENTS/TEACHERS</vt:lpstr>
      <vt:lpstr>PowerPoint Presentation</vt:lpstr>
      <vt:lpstr>WHAT YOU NEED TO KNOW-TOPIC 6.5</vt:lpstr>
      <vt:lpstr>WHAT YOU NEED TO KNOW-TOPIC 6.11</vt:lpstr>
      <vt:lpstr>WHAT YOU NEED TO KNOW</vt:lpstr>
      <vt:lpstr>WHAT YOU NEED TO KNOW</vt:lpstr>
      <vt:lpstr>WHAT YOU NEED TO KNOW</vt:lpstr>
      <vt:lpstr>PowerPoint Presentation</vt:lpstr>
      <vt:lpstr>1998 AP Statistics Free Response #5</vt:lpstr>
      <vt:lpstr>2012 AP Statistics Free Response #4 </vt:lpstr>
      <vt:lpstr>2015 AP Statistics FRQ #4</vt:lpstr>
      <vt:lpstr>PowerPoint Presentation</vt:lpstr>
      <vt:lpstr>DEBRIEF AND SUMMARY</vt:lpstr>
      <vt:lpstr>2002 MC #8   Homework Problem Tuesday 04/07</vt:lpstr>
      <vt:lpstr>Device and Internet Access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-K12</dc:title>
  <dc:creator>College Board</dc:creator>
  <cp:lastModifiedBy>Brendan Murphy</cp:lastModifiedBy>
  <cp:revision>84</cp:revision>
  <dcterms:created xsi:type="dcterms:W3CDTF">2019-04-30T21:25:41Z</dcterms:created>
  <dcterms:modified xsi:type="dcterms:W3CDTF">2020-04-06T23:21:56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3FF447BA0B14F9CF529B5C5DF2DEA</vt:lpwstr>
  </property>
</Properties>
</file>